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53" r:id="rId4"/>
  </p:sldMasterIdLst>
  <p:notesMasterIdLst>
    <p:notesMasterId r:id="rId12"/>
  </p:notesMasterIdLst>
  <p:sldIdLst>
    <p:sldId id="373" r:id="rId5"/>
    <p:sldId id="392" r:id="rId6"/>
    <p:sldId id="2147378000" r:id="rId7"/>
    <p:sldId id="393" r:id="rId8"/>
    <p:sldId id="2147378001" r:id="rId9"/>
    <p:sldId id="391" r:id="rId10"/>
    <p:sldId id="398" r:id="rId11"/>
  </p:sldIdLst>
  <p:sldSz cx="12192000" cy="6858000"/>
  <p:notesSz cx="6858000" cy="9144000"/>
  <p:custDataLst>
    <p:tags r:id="rId13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F6FB"/>
    <a:srgbClr val="FFCC66"/>
    <a:srgbClr val="99FF99"/>
    <a:srgbClr val="023D5B"/>
    <a:srgbClr val="00A8D7"/>
    <a:srgbClr val="DEEE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–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–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FD0F851-EC5A-4D38-B0AD-8093EC10F338}" styleName="Light Style 1 –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–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–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–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–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DA37D80-6434-44D0-A028-1B22A696006F}" styleName="Light Style 3 –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263" autoAdjust="0"/>
    <p:restoredTop sz="95099" autoAdjust="0"/>
  </p:normalViewPr>
  <p:slideViewPr>
    <p:cSldViewPr snapToGrid="0" snapToObjects="1">
      <p:cViewPr varScale="1">
        <p:scale>
          <a:sx n="61" d="100"/>
          <a:sy n="61" d="100"/>
        </p:scale>
        <p:origin x="1168" y="5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ssica Arnold (NHS South East London ICB)" userId="10bcd821-6332-4521-bf74-a418586c39c9" providerId="ADAL" clId="{64397E6C-D5AB-4F90-B5B1-FF04EA6B309B}"/>
    <pc:docChg chg="undo custSel addSld delSld modSld delMainMaster">
      <pc:chgData name="Jessica Arnold (NHS South East London ICB)" userId="10bcd821-6332-4521-bf74-a418586c39c9" providerId="ADAL" clId="{64397E6C-D5AB-4F90-B5B1-FF04EA6B309B}" dt="2025-07-08T10:52:45.163" v="121" actId="20577"/>
      <pc:docMkLst>
        <pc:docMk/>
      </pc:docMkLst>
      <pc:sldChg chg="add del">
        <pc:chgData name="Jessica Arnold (NHS South East London ICB)" userId="10bcd821-6332-4521-bf74-a418586c39c9" providerId="ADAL" clId="{64397E6C-D5AB-4F90-B5B1-FF04EA6B309B}" dt="2025-07-08T10:51:10.762" v="66" actId="47"/>
        <pc:sldMkLst>
          <pc:docMk/>
          <pc:sldMk cId="1616385155" sldId="256"/>
        </pc:sldMkLst>
      </pc:sldChg>
      <pc:sldChg chg="del">
        <pc:chgData name="Jessica Arnold (NHS South East London ICB)" userId="10bcd821-6332-4521-bf74-a418586c39c9" providerId="ADAL" clId="{64397E6C-D5AB-4F90-B5B1-FF04EA6B309B}" dt="2025-07-08T10:51:18.413" v="70" actId="47"/>
        <pc:sldMkLst>
          <pc:docMk/>
          <pc:sldMk cId="2181838547" sldId="257"/>
        </pc:sldMkLst>
      </pc:sldChg>
      <pc:sldChg chg="del">
        <pc:chgData name="Jessica Arnold (NHS South East London ICB)" userId="10bcd821-6332-4521-bf74-a418586c39c9" providerId="ADAL" clId="{64397E6C-D5AB-4F90-B5B1-FF04EA6B309B}" dt="2025-07-08T10:51:31.849" v="78" actId="47"/>
        <pc:sldMkLst>
          <pc:docMk/>
          <pc:sldMk cId="2911531865" sldId="258"/>
        </pc:sldMkLst>
      </pc:sldChg>
      <pc:sldChg chg="del">
        <pc:chgData name="Jessica Arnold (NHS South East London ICB)" userId="10bcd821-6332-4521-bf74-a418586c39c9" providerId="ADAL" clId="{64397E6C-D5AB-4F90-B5B1-FF04EA6B309B}" dt="2025-07-08T10:51:30.662" v="77" actId="47"/>
        <pc:sldMkLst>
          <pc:docMk/>
          <pc:sldMk cId="3936365616" sldId="259"/>
        </pc:sldMkLst>
      </pc:sldChg>
      <pc:sldChg chg="add del">
        <pc:chgData name="Jessica Arnold (NHS South East London ICB)" userId="10bcd821-6332-4521-bf74-a418586c39c9" providerId="ADAL" clId="{64397E6C-D5AB-4F90-B5B1-FF04EA6B309B}" dt="2025-07-08T10:51:14.952" v="67" actId="47"/>
        <pc:sldMkLst>
          <pc:docMk/>
          <pc:sldMk cId="1750771401" sldId="260"/>
        </pc:sldMkLst>
      </pc:sldChg>
      <pc:sldChg chg="del">
        <pc:chgData name="Jessica Arnold (NHS South East London ICB)" userId="10bcd821-6332-4521-bf74-a418586c39c9" providerId="ADAL" clId="{64397E6C-D5AB-4F90-B5B1-FF04EA6B309B}" dt="2025-07-08T10:51:39.869" v="85" actId="47"/>
        <pc:sldMkLst>
          <pc:docMk/>
          <pc:sldMk cId="1512733580" sldId="261"/>
        </pc:sldMkLst>
      </pc:sldChg>
      <pc:sldChg chg="add del">
        <pc:chgData name="Jessica Arnold (NHS South East London ICB)" userId="10bcd821-6332-4521-bf74-a418586c39c9" providerId="ADAL" clId="{64397E6C-D5AB-4F90-B5B1-FF04EA6B309B}" dt="2025-07-08T10:51:16.334" v="68" actId="47"/>
        <pc:sldMkLst>
          <pc:docMk/>
          <pc:sldMk cId="1756605135" sldId="262"/>
        </pc:sldMkLst>
      </pc:sldChg>
      <pc:sldChg chg="del">
        <pc:chgData name="Jessica Arnold (NHS South East London ICB)" userId="10bcd821-6332-4521-bf74-a418586c39c9" providerId="ADAL" clId="{64397E6C-D5AB-4F90-B5B1-FF04EA6B309B}" dt="2025-07-08T10:51:20.132" v="72" actId="47"/>
        <pc:sldMkLst>
          <pc:docMk/>
          <pc:sldMk cId="3030729890" sldId="265"/>
        </pc:sldMkLst>
      </pc:sldChg>
      <pc:sldChg chg="del">
        <pc:chgData name="Jessica Arnold (NHS South East London ICB)" userId="10bcd821-6332-4521-bf74-a418586c39c9" providerId="ADAL" clId="{64397E6C-D5AB-4F90-B5B1-FF04EA6B309B}" dt="2025-07-08T10:51:17.302" v="69" actId="47"/>
        <pc:sldMkLst>
          <pc:docMk/>
          <pc:sldMk cId="958030912" sldId="266"/>
        </pc:sldMkLst>
      </pc:sldChg>
      <pc:sldChg chg="modSp mod">
        <pc:chgData name="Jessica Arnold (NHS South East London ICB)" userId="10bcd821-6332-4521-bf74-a418586c39c9" providerId="ADAL" clId="{64397E6C-D5AB-4F90-B5B1-FF04EA6B309B}" dt="2025-07-08T10:49:47.890" v="31" actId="20577"/>
        <pc:sldMkLst>
          <pc:docMk/>
          <pc:sldMk cId="1784806877" sldId="373"/>
        </pc:sldMkLst>
        <pc:spChg chg="mod">
          <ac:chgData name="Jessica Arnold (NHS South East London ICB)" userId="10bcd821-6332-4521-bf74-a418586c39c9" providerId="ADAL" clId="{64397E6C-D5AB-4F90-B5B1-FF04EA6B309B}" dt="2025-07-08T10:49:25.621" v="8" actId="20577"/>
          <ac:spMkLst>
            <pc:docMk/>
            <pc:sldMk cId="1784806877" sldId="373"/>
            <ac:spMk id="2" creationId="{DC955658-CEF4-2C34-FD70-C40C3EFCBB64}"/>
          </ac:spMkLst>
        </pc:spChg>
        <pc:spChg chg="mod">
          <ac:chgData name="Jessica Arnold (NHS South East London ICB)" userId="10bcd821-6332-4521-bf74-a418586c39c9" providerId="ADAL" clId="{64397E6C-D5AB-4F90-B5B1-FF04EA6B309B}" dt="2025-07-08T10:49:47.890" v="31" actId="20577"/>
          <ac:spMkLst>
            <pc:docMk/>
            <pc:sldMk cId="1784806877" sldId="373"/>
            <ac:spMk id="3" creationId="{6C7FF9DF-5D14-E59A-8905-8E40405B25F8}"/>
          </ac:spMkLst>
        </pc:spChg>
      </pc:sldChg>
      <pc:sldChg chg="del">
        <pc:chgData name="Jessica Arnold (NHS South East London ICB)" userId="10bcd821-6332-4521-bf74-a418586c39c9" providerId="ADAL" clId="{64397E6C-D5AB-4F90-B5B1-FF04EA6B309B}" dt="2025-07-08T10:52:38.395" v="120" actId="2696"/>
        <pc:sldMkLst>
          <pc:docMk/>
          <pc:sldMk cId="1577058224" sldId="384"/>
        </pc:sldMkLst>
      </pc:sldChg>
      <pc:sldChg chg="delSp modSp mod">
        <pc:chgData name="Jessica Arnold (NHS South East London ICB)" userId="10bcd821-6332-4521-bf74-a418586c39c9" providerId="ADAL" clId="{64397E6C-D5AB-4F90-B5B1-FF04EA6B309B}" dt="2025-07-08T10:52:32.302" v="119" actId="1076"/>
        <pc:sldMkLst>
          <pc:docMk/>
          <pc:sldMk cId="3339130940" sldId="391"/>
        </pc:sldMkLst>
        <pc:spChg chg="mod">
          <ac:chgData name="Jessica Arnold (NHS South East London ICB)" userId="10bcd821-6332-4521-bf74-a418586c39c9" providerId="ADAL" clId="{64397E6C-D5AB-4F90-B5B1-FF04EA6B309B}" dt="2025-07-08T10:52:32.302" v="119" actId="1076"/>
          <ac:spMkLst>
            <pc:docMk/>
            <pc:sldMk cId="3339130940" sldId="391"/>
            <ac:spMk id="6" creationId="{67AF5EFF-7BB5-3C24-CABB-96B2439944E5}"/>
          </ac:spMkLst>
        </pc:spChg>
        <pc:spChg chg="del">
          <ac:chgData name="Jessica Arnold (NHS South East London ICB)" userId="10bcd821-6332-4521-bf74-a418586c39c9" providerId="ADAL" clId="{64397E6C-D5AB-4F90-B5B1-FF04EA6B309B}" dt="2025-07-08T10:52:25.442" v="118" actId="478"/>
          <ac:spMkLst>
            <pc:docMk/>
            <pc:sldMk cId="3339130940" sldId="391"/>
            <ac:spMk id="7" creationId="{166BA62C-C848-7EF5-A0FC-4524B9DF4D54}"/>
          </ac:spMkLst>
        </pc:spChg>
      </pc:sldChg>
      <pc:sldChg chg="modSp mod">
        <pc:chgData name="Jessica Arnold (NHS South East London ICB)" userId="10bcd821-6332-4521-bf74-a418586c39c9" providerId="ADAL" clId="{64397E6C-D5AB-4F90-B5B1-FF04EA6B309B}" dt="2025-07-08T10:50:25.435" v="51" actId="1035"/>
        <pc:sldMkLst>
          <pc:docMk/>
          <pc:sldMk cId="1156431221" sldId="392"/>
        </pc:sldMkLst>
        <pc:spChg chg="mod">
          <ac:chgData name="Jessica Arnold (NHS South East London ICB)" userId="10bcd821-6332-4521-bf74-a418586c39c9" providerId="ADAL" clId="{64397E6C-D5AB-4F90-B5B1-FF04EA6B309B}" dt="2025-07-08T10:50:25.435" v="51" actId="1035"/>
          <ac:spMkLst>
            <pc:docMk/>
            <pc:sldMk cId="1156431221" sldId="392"/>
            <ac:spMk id="7" creationId="{E710AE3E-5F9F-1A80-7A89-135E44E08965}"/>
          </ac:spMkLst>
        </pc:spChg>
      </pc:sldChg>
      <pc:sldChg chg="del">
        <pc:chgData name="Jessica Arnold (NHS South East London ICB)" userId="10bcd821-6332-4521-bf74-a418586c39c9" providerId="ADAL" clId="{64397E6C-D5AB-4F90-B5B1-FF04EA6B309B}" dt="2025-07-08T10:51:01.652" v="58" actId="47"/>
        <pc:sldMkLst>
          <pc:docMk/>
          <pc:sldMk cId="1229100309" sldId="396"/>
        </pc:sldMkLst>
      </pc:sldChg>
      <pc:sldChg chg="modSp mod">
        <pc:chgData name="Jessica Arnold (NHS South East London ICB)" userId="10bcd821-6332-4521-bf74-a418586c39c9" providerId="ADAL" clId="{64397E6C-D5AB-4F90-B5B1-FF04EA6B309B}" dt="2025-07-08T10:52:45.163" v="121" actId="20577"/>
        <pc:sldMkLst>
          <pc:docMk/>
          <pc:sldMk cId="2602551493" sldId="398"/>
        </pc:sldMkLst>
        <pc:spChg chg="mod">
          <ac:chgData name="Jessica Arnold (NHS South East London ICB)" userId="10bcd821-6332-4521-bf74-a418586c39c9" providerId="ADAL" clId="{64397E6C-D5AB-4F90-B5B1-FF04EA6B309B}" dt="2025-07-08T10:52:45.163" v="121" actId="20577"/>
          <ac:spMkLst>
            <pc:docMk/>
            <pc:sldMk cId="2602551493" sldId="398"/>
            <ac:spMk id="2" creationId="{D41586F4-F92F-1EB1-3C6B-777A7ED32675}"/>
          </ac:spMkLst>
        </pc:spChg>
      </pc:sldChg>
      <pc:sldChg chg="del">
        <pc:chgData name="Jessica Arnold (NHS South East London ICB)" userId="10bcd821-6332-4521-bf74-a418586c39c9" providerId="ADAL" clId="{64397E6C-D5AB-4F90-B5B1-FF04EA6B309B}" dt="2025-07-08T10:50:56.860" v="53" actId="47"/>
        <pc:sldMkLst>
          <pc:docMk/>
          <pc:sldMk cId="354015890" sldId="400"/>
        </pc:sldMkLst>
      </pc:sldChg>
      <pc:sldChg chg="del">
        <pc:chgData name="Jessica Arnold (NHS South East London ICB)" userId="10bcd821-6332-4521-bf74-a418586c39c9" providerId="ADAL" clId="{64397E6C-D5AB-4F90-B5B1-FF04EA6B309B}" dt="2025-07-08T10:50:57.682" v="54" actId="47"/>
        <pc:sldMkLst>
          <pc:docMk/>
          <pc:sldMk cId="3076960577" sldId="402"/>
        </pc:sldMkLst>
      </pc:sldChg>
      <pc:sldChg chg="del">
        <pc:chgData name="Jessica Arnold (NHS South East London ICB)" userId="10bcd821-6332-4521-bf74-a418586c39c9" providerId="ADAL" clId="{64397E6C-D5AB-4F90-B5B1-FF04EA6B309B}" dt="2025-07-08T10:50:58.511" v="55" actId="47"/>
        <pc:sldMkLst>
          <pc:docMk/>
          <pc:sldMk cId="4291065039" sldId="403"/>
        </pc:sldMkLst>
      </pc:sldChg>
      <pc:sldChg chg="del">
        <pc:chgData name="Jessica Arnold (NHS South East London ICB)" userId="10bcd821-6332-4521-bf74-a418586c39c9" providerId="ADAL" clId="{64397E6C-D5AB-4F90-B5B1-FF04EA6B309B}" dt="2025-07-08T10:50:59.372" v="56" actId="47"/>
        <pc:sldMkLst>
          <pc:docMk/>
          <pc:sldMk cId="3543176746" sldId="404"/>
        </pc:sldMkLst>
      </pc:sldChg>
      <pc:sldChg chg="del">
        <pc:chgData name="Jessica Arnold (NHS South East London ICB)" userId="10bcd821-6332-4521-bf74-a418586c39c9" providerId="ADAL" clId="{64397E6C-D5AB-4F90-B5B1-FF04EA6B309B}" dt="2025-07-08T10:51:00.573" v="57" actId="47"/>
        <pc:sldMkLst>
          <pc:docMk/>
          <pc:sldMk cId="1793018474" sldId="2147378002"/>
        </pc:sldMkLst>
      </pc:sldChg>
      <pc:sldChg chg="del">
        <pc:chgData name="Jessica Arnold (NHS South East London ICB)" userId="10bcd821-6332-4521-bf74-a418586c39c9" providerId="ADAL" clId="{64397E6C-D5AB-4F90-B5B1-FF04EA6B309B}" dt="2025-07-08T10:50:54.913" v="52" actId="47"/>
        <pc:sldMkLst>
          <pc:docMk/>
          <pc:sldMk cId="4040107424" sldId="2147378003"/>
        </pc:sldMkLst>
      </pc:sldChg>
      <pc:sldChg chg="del">
        <pc:chgData name="Jessica Arnold (NHS South East London ICB)" userId="10bcd821-6332-4521-bf74-a418586c39c9" providerId="ADAL" clId="{64397E6C-D5AB-4F90-B5B1-FF04EA6B309B}" dt="2025-07-08T10:51:02.789" v="59" actId="47"/>
        <pc:sldMkLst>
          <pc:docMk/>
          <pc:sldMk cId="96836663" sldId="2147378004"/>
        </pc:sldMkLst>
      </pc:sldChg>
      <pc:sldChg chg="del">
        <pc:chgData name="Jessica Arnold (NHS South East London ICB)" userId="10bcd821-6332-4521-bf74-a418586c39c9" providerId="ADAL" clId="{64397E6C-D5AB-4F90-B5B1-FF04EA6B309B}" dt="2025-07-08T10:51:44.138" v="88" actId="47"/>
        <pc:sldMkLst>
          <pc:docMk/>
          <pc:sldMk cId="1773842610" sldId="2147378005"/>
        </pc:sldMkLst>
      </pc:sldChg>
      <pc:sldChg chg="del">
        <pc:chgData name="Jessica Arnold (NHS South East London ICB)" userId="10bcd821-6332-4521-bf74-a418586c39c9" providerId="ADAL" clId="{64397E6C-D5AB-4F90-B5B1-FF04EA6B309B}" dt="2025-07-08T10:51:19.307" v="71" actId="47"/>
        <pc:sldMkLst>
          <pc:docMk/>
          <pc:sldMk cId="647006177" sldId="2147477465"/>
        </pc:sldMkLst>
      </pc:sldChg>
      <pc:sldChg chg="del">
        <pc:chgData name="Jessica Arnold (NHS South East London ICB)" userId="10bcd821-6332-4521-bf74-a418586c39c9" providerId="ADAL" clId="{64397E6C-D5AB-4F90-B5B1-FF04EA6B309B}" dt="2025-07-08T10:51:21.899" v="74" actId="47"/>
        <pc:sldMkLst>
          <pc:docMk/>
          <pc:sldMk cId="1711278406" sldId="2147477467"/>
        </pc:sldMkLst>
      </pc:sldChg>
      <pc:sldChg chg="del">
        <pc:chgData name="Jessica Arnold (NHS South East London ICB)" userId="10bcd821-6332-4521-bf74-a418586c39c9" providerId="ADAL" clId="{64397E6C-D5AB-4F90-B5B1-FF04EA6B309B}" dt="2025-07-08T10:51:20.940" v="73" actId="47"/>
        <pc:sldMkLst>
          <pc:docMk/>
          <pc:sldMk cId="3181064550" sldId="2147477469"/>
        </pc:sldMkLst>
      </pc:sldChg>
      <pc:sldChg chg="del">
        <pc:chgData name="Jessica Arnold (NHS South East London ICB)" userId="10bcd821-6332-4521-bf74-a418586c39c9" providerId="ADAL" clId="{64397E6C-D5AB-4F90-B5B1-FF04EA6B309B}" dt="2025-07-08T10:51:22.644" v="75" actId="47"/>
        <pc:sldMkLst>
          <pc:docMk/>
          <pc:sldMk cId="3205461672" sldId="2147477473"/>
        </pc:sldMkLst>
      </pc:sldChg>
      <pc:sldChg chg="del">
        <pc:chgData name="Jessica Arnold (NHS South East London ICB)" userId="10bcd821-6332-4521-bf74-a418586c39c9" providerId="ADAL" clId="{64397E6C-D5AB-4F90-B5B1-FF04EA6B309B}" dt="2025-07-08T10:51:24.153" v="76" actId="47"/>
        <pc:sldMkLst>
          <pc:docMk/>
          <pc:sldMk cId="1408812863" sldId="2147477476"/>
        </pc:sldMkLst>
      </pc:sldChg>
      <pc:sldChg chg="del">
        <pc:chgData name="Jessica Arnold (NHS South East London ICB)" userId="10bcd821-6332-4521-bf74-a418586c39c9" providerId="ADAL" clId="{64397E6C-D5AB-4F90-B5B1-FF04EA6B309B}" dt="2025-07-08T10:51:32.876" v="79" actId="47"/>
        <pc:sldMkLst>
          <pc:docMk/>
          <pc:sldMk cId="667613889" sldId="2147477478"/>
        </pc:sldMkLst>
      </pc:sldChg>
      <pc:sldChg chg="del">
        <pc:chgData name="Jessica Arnold (NHS South East London ICB)" userId="10bcd821-6332-4521-bf74-a418586c39c9" providerId="ADAL" clId="{64397E6C-D5AB-4F90-B5B1-FF04EA6B309B}" dt="2025-07-08T10:51:41.266" v="86" actId="47"/>
        <pc:sldMkLst>
          <pc:docMk/>
          <pc:sldMk cId="4216494343" sldId="2147477479"/>
        </pc:sldMkLst>
      </pc:sldChg>
      <pc:sldChg chg="del">
        <pc:chgData name="Jessica Arnold (NHS South East London ICB)" userId="10bcd821-6332-4521-bf74-a418586c39c9" providerId="ADAL" clId="{64397E6C-D5AB-4F90-B5B1-FF04EA6B309B}" dt="2025-07-08T10:51:33.879" v="80" actId="47"/>
        <pc:sldMkLst>
          <pc:docMk/>
          <pc:sldMk cId="600353785" sldId="2147477480"/>
        </pc:sldMkLst>
      </pc:sldChg>
      <pc:sldChg chg="del">
        <pc:chgData name="Jessica Arnold (NHS South East London ICB)" userId="10bcd821-6332-4521-bf74-a418586c39c9" providerId="ADAL" clId="{64397E6C-D5AB-4F90-B5B1-FF04EA6B309B}" dt="2025-07-08T10:51:37.423" v="83" actId="47"/>
        <pc:sldMkLst>
          <pc:docMk/>
          <pc:sldMk cId="1762986483" sldId="2147477481"/>
        </pc:sldMkLst>
      </pc:sldChg>
      <pc:sldChg chg="del">
        <pc:chgData name="Jessica Arnold (NHS South East London ICB)" userId="10bcd821-6332-4521-bf74-a418586c39c9" providerId="ADAL" clId="{64397E6C-D5AB-4F90-B5B1-FF04EA6B309B}" dt="2025-07-08T10:51:38.382" v="84" actId="47"/>
        <pc:sldMkLst>
          <pc:docMk/>
          <pc:sldMk cId="2453184327" sldId="2147477482"/>
        </pc:sldMkLst>
      </pc:sldChg>
      <pc:sldChg chg="del">
        <pc:chgData name="Jessica Arnold (NHS South East London ICB)" userId="10bcd821-6332-4521-bf74-a418586c39c9" providerId="ADAL" clId="{64397E6C-D5AB-4F90-B5B1-FF04EA6B309B}" dt="2025-07-08T10:51:36.402" v="82" actId="47"/>
        <pc:sldMkLst>
          <pc:docMk/>
          <pc:sldMk cId="2189870178" sldId="2147477483"/>
        </pc:sldMkLst>
      </pc:sldChg>
      <pc:sldChg chg="del">
        <pc:chgData name="Jessica Arnold (NHS South East London ICB)" userId="10bcd821-6332-4521-bf74-a418586c39c9" providerId="ADAL" clId="{64397E6C-D5AB-4F90-B5B1-FF04EA6B309B}" dt="2025-07-08T10:51:34.718" v="81" actId="47"/>
        <pc:sldMkLst>
          <pc:docMk/>
          <pc:sldMk cId="2652347510" sldId="2147477484"/>
        </pc:sldMkLst>
      </pc:sldChg>
      <pc:sldChg chg="del">
        <pc:chgData name="Jessica Arnold (NHS South East London ICB)" userId="10bcd821-6332-4521-bf74-a418586c39c9" providerId="ADAL" clId="{64397E6C-D5AB-4F90-B5B1-FF04EA6B309B}" dt="2025-07-08T10:51:42.406" v="87" actId="47"/>
        <pc:sldMkLst>
          <pc:docMk/>
          <pc:sldMk cId="4218725314" sldId="2147477485"/>
        </pc:sldMkLst>
      </pc:sldChg>
      <pc:sldMasterChg chg="del delSldLayout">
        <pc:chgData name="Jessica Arnold (NHS South East London ICB)" userId="10bcd821-6332-4521-bf74-a418586c39c9" providerId="ADAL" clId="{64397E6C-D5AB-4F90-B5B1-FF04EA6B309B}" dt="2025-07-08T10:51:42.406" v="87" actId="47"/>
        <pc:sldMasterMkLst>
          <pc:docMk/>
          <pc:sldMasterMk cId="1581406546" sldId="2147483729"/>
        </pc:sldMasterMkLst>
        <pc:sldLayoutChg chg="del">
          <pc:chgData name="Jessica Arnold (NHS South East London ICB)" userId="10bcd821-6332-4521-bf74-a418586c39c9" providerId="ADAL" clId="{64397E6C-D5AB-4F90-B5B1-FF04EA6B309B}" dt="2025-07-08T10:51:42.406" v="87" actId="47"/>
          <pc:sldLayoutMkLst>
            <pc:docMk/>
            <pc:sldMasterMk cId="1581406546" sldId="2147483729"/>
            <pc:sldLayoutMk cId="3331494786" sldId="2147483730"/>
          </pc:sldLayoutMkLst>
        </pc:sldLayoutChg>
        <pc:sldLayoutChg chg="del">
          <pc:chgData name="Jessica Arnold (NHS South East London ICB)" userId="10bcd821-6332-4521-bf74-a418586c39c9" providerId="ADAL" clId="{64397E6C-D5AB-4F90-B5B1-FF04EA6B309B}" dt="2025-07-08T10:51:42.406" v="87" actId="47"/>
          <pc:sldLayoutMkLst>
            <pc:docMk/>
            <pc:sldMasterMk cId="1581406546" sldId="2147483729"/>
            <pc:sldLayoutMk cId="2129388844" sldId="2147483731"/>
          </pc:sldLayoutMkLst>
        </pc:sldLayoutChg>
        <pc:sldLayoutChg chg="del">
          <pc:chgData name="Jessica Arnold (NHS South East London ICB)" userId="10bcd821-6332-4521-bf74-a418586c39c9" providerId="ADAL" clId="{64397E6C-D5AB-4F90-B5B1-FF04EA6B309B}" dt="2025-07-08T10:51:42.406" v="87" actId="47"/>
          <pc:sldLayoutMkLst>
            <pc:docMk/>
            <pc:sldMasterMk cId="1581406546" sldId="2147483729"/>
            <pc:sldLayoutMk cId="3662704478" sldId="2147483732"/>
          </pc:sldLayoutMkLst>
        </pc:sldLayoutChg>
        <pc:sldLayoutChg chg="del">
          <pc:chgData name="Jessica Arnold (NHS South East London ICB)" userId="10bcd821-6332-4521-bf74-a418586c39c9" providerId="ADAL" clId="{64397E6C-D5AB-4F90-B5B1-FF04EA6B309B}" dt="2025-07-08T10:51:42.406" v="87" actId="47"/>
          <pc:sldLayoutMkLst>
            <pc:docMk/>
            <pc:sldMasterMk cId="1581406546" sldId="2147483729"/>
            <pc:sldLayoutMk cId="4032728792" sldId="2147483733"/>
          </pc:sldLayoutMkLst>
        </pc:sldLayoutChg>
        <pc:sldLayoutChg chg="del">
          <pc:chgData name="Jessica Arnold (NHS South East London ICB)" userId="10bcd821-6332-4521-bf74-a418586c39c9" providerId="ADAL" clId="{64397E6C-D5AB-4F90-B5B1-FF04EA6B309B}" dt="2025-07-08T10:51:42.406" v="87" actId="47"/>
          <pc:sldLayoutMkLst>
            <pc:docMk/>
            <pc:sldMasterMk cId="1581406546" sldId="2147483729"/>
            <pc:sldLayoutMk cId="498584191" sldId="2147483734"/>
          </pc:sldLayoutMkLst>
        </pc:sldLayoutChg>
        <pc:sldLayoutChg chg="del">
          <pc:chgData name="Jessica Arnold (NHS South East London ICB)" userId="10bcd821-6332-4521-bf74-a418586c39c9" providerId="ADAL" clId="{64397E6C-D5AB-4F90-B5B1-FF04EA6B309B}" dt="2025-07-08T10:51:42.406" v="87" actId="47"/>
          <pc:sldLayoutMkLst>
            <pc:docMk/>
            <pc:sldMasterMk cId="1581406546" sldId="2147483729"/>
            <pc:sldLayoutMk cId="1872964427" sldId="2147483735"/>
          </pc:sldLayoutMkLst>
        </pc:sldLayoutChg>
        <pc:sldLayoutChg chg="del">
          <pc:chgData name="Jessica Arnold (NHS South East London ICB)" userId="10bcd821-6332-4521-bf74-a418586c39c9" providerId="ADAL" clId="{64397E6C-D5AB-4F90-B5B1-FF04EA6B309B}" dt="2025-07-08T10:51:42.406" v="87" actId="47"/>
          <pc:sldLayoutMkLst>
            <pc:docMk/>
            <pc:sldMasterMk cId="1581406546" sldId="2147483729"/>
            <pc:sldLayoutMk cId="4188674830" sldId="2147483736"/>
          </pc:sldLayoutMkLst>
        </pc:sldLayoutChg>
        <pc:sldLayoutChg chg="del">
          <pc:chgData name="Jessica Arnold (NHS South East London ICB)" userId="10bcd821-6332-4521-bf74-a418586c39c9" providerId="ADAL" clId="{64397E6C-D5AB-4F90-B5B1-FF04EA6B309B}" dt="2025-07-08T10:51:42.406" v="87" actId="47"/>
          <pc:sldLayoutMkLst>
            <pc:docMk/>
            <pc:sldMasterMk cId="1581406546" sldId="2147483729"/>
            <pc:sldLayoutMk cId="161807433" sldId="2147483737"/>
          </pc:sldLayoutMkLst>
        </pc:sldLayoutChg>
        <pc:sldLayoutChg chg="del">
          <pc:chgData name="Jessica Arnold (NHS South East London ICB)" userId="10bcd821-6332-4521-bf74-a418586c39c9" providerId="ADAL" clId="{64397E6C-D5AB-4F90-B5B1-FF04EA6B309B}" dt="2025-07-08T10:51:42.406" v="87" actId="47"/>
          <pc:sldLayoutMkLst>
            <pc:docMk/>
            <pc:sldMasterMk cId="1581406546" sldId="2147483729"/>
            <pc:sldLayoutMk cId="1055692660" sldId="2147483738"/>
          </pc:sldLayoutMkLst>
        </pc:sldLayoutChg>
        <pc:sldLayoutChg chg="del">
          <pc:chgData name="Jessica Arnold (NHS South East London ICB)" userId="10bcd821-6332-4521-bf74-a418586c39c9" providerId="ADAL" clId="{64397E6C-D5AB-4F90-B5B1-FF04EA6B309B}" dt="2025-07-08T10:51:42.406" v="87" actId="47"/>
          <pc:sldLayoutMkLst>
            <pc:docMk/>
            <pc:sldMasterMk cId="1581406546" sldId="2147483729"/>
            <pc:sldLayoutMk cId="2783874350" sldId="2147483739"/>
          </pc:sldLayoutMkLst>
        </pc:sldLayoutChg>
        <pc:sldLayoutChg chg="del">
          <pc:chgData name="Jessica Arnold (NHS South East London ICB)" userId="10bcd821-6332-4521-bf74-a418586c39c9" providerId="ADAL" clId="{64397E6C-D5AB-4F90-B5B1-FF04EA6B309B}" dt="2025-07-08T10:51:42.406" v="87" actId="47"/>
          <pc:sldLayoutMkLst>
            <pc:docMk/>
            <pc:sldMasterMk cId="1581406546" sldId="2147483729"/>
            <pc:sldLayoutMk cId="405705814" sldId="2147483740"/>
          </pc:sldLayoutMkLst>
        </pc:sldLayoutChg>
        <pc:sldLayoutChg chg="del">
          <pc:chgData name="Jessica Arnold (NHS South East London ICB)" userId="10bcd821-6332-4521-bf74-a418586c39c9" providerId="ADAL" clId="{64397E6C-D5AB-4F90-B5B1-FF04EA6B309B}" dt="2025-07-08T10:51:42.406" v="87" actId="47"/>
          <pc:sldLayoutMkLst>
            <pc:docMk/>
            <pc:sldMasterMk cId="1581406546" sldId="2147483729"/>
            <pc:sldLayoutMk cId="3621695819" sldId="2147483741"/>
          </pc:sldLayoutMkLst>
        </pc:sldLayoutChg>
        <pc:sldLayoutChg chg="del">
          <pc:chgData name="Jessica Arnold (NHS South East London ICB)" userId="10bcd821-6332-4521-bf74-a418586c39c9" providerId="ADAL" clId="{64397E6C-D5AB-4F90-B5B1-FF04EA6B309B}" dt="2025-07-08T10:51:42.406" v="87" actId="47"/>
          <pc:sldLayoutMkLst>
            <pc:docMk/>
            <pc:sldMasterMk cId="1581406546" sldId="2147483729"/>
            <pc:sldLayoutMk cId="1046690525" sldId="2147483742"/>
          </pc:sldLayoutMkLst>
        </pc:sldLayoutChg>
        <pc:sldLayoutChg chg="del">
          <pc:chgData name="Jessica Arnold (NHS South East London ICB)" userId="10bcd821-6332-4521-bf74-a418586c39c9" providerId="ADAL" clId="{64397E6C-D5AB-4F90-B5B1-FF04EA6B309B}" dt="2025-07-08T10:51:42.406" v="87" actId="47"/>
          <pc:sldLayoutMkLst>
            <pc:docMk/>
            <pc:sldMasterMk cId="1581406546" sldId="2147483729"/>
            <pc:sldLayoutMk cId="1833984661" sldId="2147483743"/>
          </pc:sldLayoutMkLst>
        </pc:sldLayoutChg>
        <pc:sldLayoutChg chg="del">
          <pc:chgData name="Jessica Arnold (NHS South East London ICB)" userId="10bcd821-6332-4521-bf74-a418586c39c9" providerId="ADAL" clId="{64397E6C-D5AB-4F90-B5B1-FF04EA6B309B}" dt="2025-07-08T10:51:42.406" v="87" actId="47"/>
          <pc:sldLayoutMkLst>
            <pc:docMk/>
            <pc:sldMasterMk cId="1581406546" sldId="2147483729"/>
            <pc:sldLayoutMk cId="721281166" sldId="2147483744"/>
          </pc:sldLayoutMkLst>
        </pc:sldLayoutChg>
        <pc:sldLayoutChg chg="del">
          <pc:chgData name="Jessica Arnold (NHS South East London ICB)" userId="10bcd821-6332-4521-bf74-a418586c39c9" providerId="ADAL" clId="{64397E6C-D5AB-4F90-B5B1-FF04EA6B309B}" dt="2025-07-08T10:51:42.406" v="87" actId="47"/>
          <pc:sldLayoutMkLst>
            <pc:docMk/>
            <pc:sldMasterMk cId="1581406546" sldId="2147483729"/>
            <pc:sldLayoutMk cId="694239327" sldId="2147483745"/>
          </pc:sldLayoutMkLst>
        </pc:sldLayoutChg>
        <pc:sldLayoutChg chg="del">
          <pc:chgData name="Jessica Arnold (NHS South East London ICB)" userId="10bcd821-6332-4521-bf74-a418586c39c9" providerId="ADAL" clId="{64397E6C-D5AB-4F90-B5B1-FF04EA6B309B}" dt="2025-07-08T10:51:42.406" v="87" actId="47"/>
          <pc:sldLayoutMkLst>
            <pc:docMk/>
            <pc:sldMasterMk cId="1581406546" sldId="2147483729"/>
            <pc:sldLayoutMk cId="3088873814" sldId="2147483746"/>
          </pc:sldLayoutMkLst>
        </pc:sldLayoutChg>
        <pc:sldLayoutChg chg="del">
          <pc:chgData name="Jessica Arnold (NHS South East London ICB)" userId="10bcd821-6332-4521-bf74-a418586c39c9" providerId="ADAL" clId="{64397E6C-D5AB-4F90-B5B1-FF04EA6B309B}" dt="2025-07-08T10:51:42.406" v="87" actId="47"/>
          <pc:sldLayoutMkLst>
            <pc:docMk/>
            <pc:sldMasterMk cId="1581406546" sldId="2147483729"/>
            <pc:sldLayoutMk cId="3596180402" sldId="214748374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C6C2909-A1D4-9941-6C5D-11CB25560CA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512F19-6492-DA47-953D-143B592A786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E6E06791-CDBF-A647-8444-DF777B63999E}" type="datetimeFigureOut">
              <a:rPr lang="en-US"/>
              <a:pPr>
                <a:defRPr/>
              </a:pPr>
              <a:t>7/8/2025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6C2EAD5-306E-5D6B-3A8C-A7EBFA142B0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38FADCA2-986A-8495-B1A1-055029DE9D2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455A8D-F194-1CEF-E639-BFD13897CF7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768ED3-560E-1E75-C627-0F6EDF1640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B06726BC-5D2B-5E4B-962F-582EB5C042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CS Navy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D40EBD-2B67-873E-A37E-A1C556E648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88" y="2660520"/>
            <a:ext cx="9318875" cy="1481174"/>
          </a:xfrm>
          <a:prstGeom prst="rect">
            <a:avLst/>
          </a:prstGeom>
        </p:spPr>
        <p:txBody>
          <a:bodyPr/>
          <a:lstStyle>
            <a:lvl1pPr>
              <a:defRPr sz="4800"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</a:t>
            </a:r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title Text</a:t>
            </a:r>
          </a:p>
        </p:txBody>
      </p:sp>
    </p:spTree>
    <p:extLst>
      <p:ext uri="{BB962C8B-B14F-4D97-AF65-F5344CB8AC3E}">
        <p14:creationId xmlns:p14="http://schemas.microsoft.com/office/powerpoint/2010/main" val="26926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CS Content 3 colum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94F00F9-FD56-EDDE-6984-E141C4954B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9195383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C11B4FC-5C9C-1B79-55B6-99A18E3007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B98A943-9FED-E54C-2322-2DD91EB78B38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26765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7812B8C6-ED92-94D7-BF0A-57844DE45ACF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8110276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ED7ED4D-AF16-1E82-D9C6-C8D27C63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42821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145317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S Content 2 column 1 imag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59D22A4-E173-2D6C-2F56-12D73CC0F3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9195383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A8FF375-08C2-2C54-52E1-74C867BF82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C01DFFE-34AA-FC8B-DAF0-A7B0AB87EE64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26765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70AEE5-873C-BCCB-499D-C83363057E0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10275" y="1389063"/>
            <a:ext cx="3569892" cy="489902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ED7ED4D-AF16-1E82-D9C6-C8D27C63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1844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421077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S Content 2 column 1 image full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94F00F9-FD56-EDDE-6984-E141C4954B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5308329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43248E-616C-13C3-0736-01107B12F1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CA3A209-2E26-157D-9428-165D00EF5F12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26765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62E629C4-B1E2-E4F7-BB66-4C1183C4DCE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72630" y="1"/>
            <a:ext cx="3919369" cy="683736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ED7ED4D-AF16-1E82-D9C6-C8D27C63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755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559171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S Content 3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D4E17FE-B1AA-D765-B9E4-D2E7D4C2E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9195383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EEF3521-5532-4296-40D5-460725586C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11336911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ED7ED4D-AF16-1E82-D9C6-C8D27C63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45191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42156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S Blue Content 2 Colum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D4E17FE-B1AA-D765-B9E4-D2E7D4C2E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9195383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C66F77B-0FE4-442D-7734-BA500EB3AA1A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7688" y="1389062"/>
            <a:ext cx="5450439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25AE38A-19B9-49B5-3084-242A3478CA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5450439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ED7ED4D-AF16-1E82-D9C6-C8D27C63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3577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39569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S Blue Content 1 text 1 Imag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D4E17FE-B1AA-D765-B9E4-D2E7D4C2E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9195383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CE3910D-C356-42E7-56B0-CFC28F5FEA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5450439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C7A940B6-18C1-60CE-2107-D52764DF752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1" y="1389063"/>
            <a:ext cx="5584166" cy="489902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ED7ED4D-AF16-1E82-D9C6-C8D27C63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4831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489102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S Blue Content 1 text 1 Imag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7956496-866F-9795-BF59-1F229FEF42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5584167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6E31108-03A1-DD64-CB62-8D8834A16C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7725695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FAB4F12A-8EAD-4A8E-8CE4-A35B5E444FE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72630" y="1"/>
            <a:ext cx="3919369" cy="683736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ED7ED4D-AF16-1E82-D9C6-C8D27C63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0477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520129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S Blue Content 3 Colum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D4E17FE-B1AA-D765-B9E4-D2E7D4C2E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9195383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CE4A82C-BFED-88F2-A387-3948EF69AA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755C19-6FEC-A459-7BAE-61F3FE595E7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26765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7B3CC42-4779-A654-75B9-B16F8B46C01A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8110276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656367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S Blue Content 2 Text 1 Imag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D4E17FE-B1AA-D765-B9E4-D2E7D4C2E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9195383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0B31575-A953-4C2C-9057-82B3BC2906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C6BF385-DC43-5CF0-2E6B-6B7C59356B8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26765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FB7F8DEB-DC21-C2D2-2BCC-3BE9DAFE63B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10275" y="1389063"/>
            <a:ext cx="3569892" cy="489902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ED7ED4D-AF16-1E82-D9C6-C8D27C63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78198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380537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S Blue Content 2 Text 1 Image Full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C929A73C-AFE5-6B59-070D-A4E1379A37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5308329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EBF39BB-0FCC-E8B7-B748-8BE831DB84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2B43598-0095-F3BB-801B-FC70F0C520E0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226765" y="1389062"/>
            <a:ext cx="3566347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FD418B6-9707-051F-9F58-D9CB46E699F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72630" y="1"/>
            <a:ext cx="3919369" cy="683736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ED7ED4D-AF16-1E82-D9C6-C8D27C63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8952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570783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CS Blu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83BB9B-081E-CF1B-0980-904906E8EF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88" y="2660520"/>
            <a:ext cx="9310854" cy="1481174"/>
          </a:xfrm>
          <a:prstGeom prst="rect">
            <a:avLst/>
          </a:prstGeom>
        </p:spPr>
        <p:txBody>
          <a:bodyPr/>
          <a:lstStyle>
            <a:lvl1pPr>
              <a:defRPr sz="4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title Text</a:t>
            </a:r>
          </a:p>
        </p:txBody>
      </p:sp>
    </p:spTree>
    <p:extLst>
      <p:ext uri="{BB962C8B-B14F-4D97-AF65-F5344CB8AC3E}">
        <p14:creationId xmlns:p14="http://schemas.microsoft.com/office/powerpoint/2010/main" val="10605833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 descr="Insert alt text">
            <a:extLst>
              <a:ext uri="{FF2B5EF4-FFF2-40B4-BE49-F238E27FC236}">
                <a16:creationId xmlns:a16="http://schemas.microsoft.com/office/drawing/2014/main" id="{9D366D49-6343-267C-4CB5-33FBA4035E0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DnDiag">
            <a:fgClr>
              <a:schemeClr val="accent2"/>
            </a:fgClr>
            <a:bgClr>
              <a:schemeClr val="accent1"/>
            </a:bgClr>
          </a:patt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/>
              <a:t>Insert Divider Full Screen Image</a:t>
            </a:r>
          </a:p>
        </p:txBody>
      </p:sp>
    </p:spTree>
    <p:extLst>
      <p:ext uri="{BB962C8B-B14F-4D97-AF65-F5344CB8AC3E}">
        <p14:creationId xmlns:p14="http://schemas.microsoft.com/office/powerpoint/2010/main" val="3645395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Divider white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2E9E88-6292-9702-618F-FA12945863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1412" y="2566391"/>
            <a:ext cx="7369175" cy="2327339"/>
          </a:xfrm>
          <a:prstGeom prst="rect">
            <a:avLst/>
          </a:prstGeom>
        </p:spPr>
        <p:txBody>
          <a:bodyPr/>
          <a:lstStyle>
            <a:lvl1pPr algn="ctr"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Statement Over</a:t>
            </a:r>
            <a:br>
              <a:rPr lang="en-GB" dirty="0"/>
            </a:br>
            <a:r>
              <a:rPr lang="en-GB" dirty="0"/>
              <a:t>Divider Image</a:t>
            </a:r>
            <a:endParaRPr lang="en-US" dirty="0"/>
          </a:p>
        </p:txBody>
      </p:sp>
      <p:sp>
        <p:nvSpPr>
          <p:cNvPr id="3" name="Picture Placeholder 2" descr="Insert alt text">
            <a:extLst>
              <a:ext uri="{FF2B5EF4-FFF2-40B4-BE49-F238E27FC236}">
                <a16:creationId xmlns:a16="http://schemas.microsoft.com/office/drawing/2014/main" id="{43A4DF50-959B-A571-3181-4BA91B2F18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DnDiag">
            <a:fgClr>
              <a:schemeClr val="accent2"/>
            </a:fgClr>
            <a:bgClr>
              <a:schemeClr val="accent1"/>
            </a:bgClr>
          </a:patt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155468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CS White Blu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4EAA27-9B91-AE08-526A-36D74299F9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788" y="2660520"/>
            <a:ext cx="9318875" cy="1481174"/>
          </a:xfrm>
          <a:prstGeom prst="rect">
            <a:avLst/>
          </a:prstGeom>
        </p:spPr>
        <p:txBody>
          <a:bodyPr/>
          <a:lstStyle>
            <a:lvl1pPr>
              <a:defRPr sz="48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</a:t>
            </a:r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title Text </a:t>
            </a:r>
          </a:p>
        </p:txBody>
      </p:sp>
    </p:spTree>
    <p:extLst>
      <p:ext uri="{BB962C8B-B14F-4D97-AF65-F5344CB8AC3E}">
        <p14:creationId xmlns:p14="http://schemas.microsoft.com/office/powerpoint/2010/main" val="15949773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S One statement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A76532-F1BD-7885-0267-47A24F0C48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04378" y="2613772"/>
            <a:ext cx="7369175" cy="3211295"/>
          </a:xfrm>
          <a:prstGeom prst="rect">
            <a:avLst/>
          </a:prstGeom>
        </p:spPr>
        <p:txBody>
          <a:bodyPr/>
          <a:lstStyle>
            <a:lvl1pPr algn="ctr">
              <a:defRPr sz="60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one</a:t>
            </a:r>
            <a:br>
              <a:rPr lang="en-GB" dirty="0"/>
            </a:br>
            <a:r>
              <a:rPr lang="en-GB" dirty="0"/>
              <a:t>statemen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41283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S One statement blu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8F42F58-9648-2716-8CCF-9F6F481060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04378" y="2559951"/>
            <a:ext cx="7369175" cy="2655514"/>
          </a:xfrm>
          <a:prstGeom prst="rect">
            <a:avLst/>
          </a:prstGeom>
        </p:spPr>
        <p:txBody>
          <a:bodyPr/>
          <a:lstStyle>
            <a:lvl1pPr algn="ctr">
              <a:defRPr sz="6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one</a:t>
            </a:r>
            <a:br>
              <a:rPr lang="en-GB" dirty="0"/>
            </a:br>
            <a:r>
              <a:rPr lang="en-GB" dirty="0"/>
              <a:t>statemen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678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S Content 1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94F00F9-FD56-EDDE-6984-E141C4954B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9195383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57E79A0-96EF-E29E-8259-18045FE9DF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11336911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ED7ED4D-AF16-1E82-D9C6-C8D27C63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5153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583467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S Content 1 Imag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94F00F9-FD56-EDDE-6984-E141C4954B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9195383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6F1B70D-0CC7-F7F1-EDD2-545CDA93F9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5450439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E049071-6DA9-3FED-7BEC-34A2D39C16C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1" y="1389063"/>
            <a:ext cx="5584166" cy="489902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ED7ED4D-AF16-1E82-D9C6-C8D27C63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30683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736929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S Content 1 Imag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94F00F9-FD56-EDDE-6984-E141C4954B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5584167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6F1B70D-0CC7-F7F1-EDD2-545CDA93F9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7725695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DD00896D-4D27-616F-62D2-744FB031B92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72630" y="1"/>
            <a:ext cx="3919369" cy="683736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ED7ED4D-AF16-1E82-D9C6-C8D27C63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28569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004040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S Content 2 colum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94F00F9-FD56-EDDE-6984-E141C4954B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4783" y="563400"/>
            <a:ext cx="9195383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4F33404-E6E4-F9CC-9FE7-BB4C4C6919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255" y="1389062"/>
            <a:ext cx="5450439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D4937A8-3D73-1B0A-2B80-458E44B6C26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7688" y="1389062"/>
            <a:ext cx="5450439" cy="490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7ED7ED4D-AF16-1E82-D9C6-C8D27C639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72702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811836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id="{68FF4BEC-E65A-6F08-D64C-F02B55D18DD7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8100" imgH="38100" progId="TCLayout.ActiveDocument.1">
                  <p:embed/>
                </p:oleObj>
              </mc:Choice>
              <mc:Fallback>
                <p:oleObj name="think-cell Slide" r:id="rId24" imgW="38100" imgH="38100" progId="TCLayout.ActiveDocument.1">
                  <p:embed/>
                  <p:pic>
                    <p:nvPicPr>
                      <p:cNvPr id="1026" name="Object 1" hidden="1">
                        <a:extLst>
                          <a:ext uri="{FF2B5EF4-FFF2-40B4-BE49-F238E27FC236}">
                            <a16:creationId xmlns:a16="http://schemas.microsoft.com/office/drawing/2014/main" id="{68FF4BEC-E65A-6F08-D64C-F02B55D18D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90" r:id="rId4"/>
    <p:sldLayoutId id="2147483691" r:id="rId5"/>
    <p:sldLayoutId id="2147483688" r:id="rId6"/>
    <p:sldLayoutId id="2147483705" r:id="rId7"/>
    <p:sldLayoutId id="2147483717" r:id="rId8"/>
    <p:sldLayoutId id="2147483713" r:id="rId9"/>
    <p:sldLayoutId id="2147483714" r:id="rId10"/>
    <p:sldLayoutId id="2147483726" r:id="rId11"/>
    <p:sldLayoutId id="2147483718" r:id="rId12"/>
    <p:sldLayoutId id="2147483694" r:id="rId13"/>
    <p:sldLayoutId id="2147483723" r:id="rId14"/>
    <p:sldLayoutId id="2147483707" r:id="rId15"/>
    <p:sldLayoutId id="2147483728" r:id="rId16"/>
    <p:sldLayoutId id="2147483724" r:id="rId17"/>
    <p:sldLayoutId id="2147483725" r:id="rId18"/>
    <p:sldLayoutId id="2147483727" r:id="rId19"/>
    <p:sldLayoutId id="2147483704" r:id="rId20"/>
    <p:sldLayoutId id="2147483702" r:id="rId21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mailto:Jessica.Arnold@selondonics.nhs.uk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C7FF9DF-5D14-E59A-8905-8E40405B2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788" y="2094401"/>
            <a:ext cx="10871364" cy="1481174"/>
          </a:xfrm>
        </p:spPr>
        <p:txBody>
          <a:bodyPr/>
          <a:lstStyle/>
          <a:p>
            <a:r>
              <a:rPr lang="en-GB" sz="4400" b="1" kern="100" dirty="0">
                <a:solidFill>
                  <a:srgbClr val="FFFFFF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 Integrated Neighbourhood Health Service for Greenwich:</a:t>
            </a:r>
            <a:br>
              <a:rPr lang="en-GB" sz="4000" b="1" kern="100" dirty="0">
                <a:solidFill>
                  <a:srgbClr val="FFFFFF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en-GB" sz="3200" b="1" kern="100" dirty="0">
                <a:solidFill>
                  <a:srgbClr val="FFFFFF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rogress to date and big questions to consider</a:t>
            </a:r>
            <a:endParaRPr lang="en-GB" sz="3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C955658-CEF4-2C34-FD70-C40C3EFCBB6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8788" y="4162097"/>
            <a:ext cx="9768288" cy="2554013"/>
          </a:xfrm>
        </p:spPr>
        <p:txBody>
          <a:bodyPr>
            <a:normAutofit/>
          </a:bodyPr>
          <a:lstStyle/>
          <a:p>
            <a:r>
              <a:rPr lang="en-GB" sz="3500" b="1" dirty="0">
                <a:solidFill>
                  <a:srgbClr val="0070C0"/>
                </a:solidFill>
              </a:rPr>
              <a:t>July 2025</a:t>
            </a:r>
          </a:p>
          <a:p>
            <a:endParaRPr lang="en-GB" sz="2400" b="1" dirty="0">
              <a:solidFill>
                <a:srgbClr val="0070C0"/>
              </a:solidFill>
            </a:endParaRPr>
          </a:p>
          <a:p>
            <a:r>
              <a:rPr lang="en-GB" sz="2200" b="1" dirty="0"/>
              <a:t>Jessica Arnold, Director of Primary Care and Neighbourhoods, Greenwich ICB </a:t>
            </a:r>
          </a:p>
        </p:txBody>
      </p:sp>
      <p:pic>
        <p:nvPicPr>
          <p:cNvPr id="4" name="Picture 3" descr="A logo with a tree&#10;&#10;AI-generated content may be incorrect.">
            <a:extLst>
              <a:ext uri="{FF2B5EF4-FFF2-40B4-BE49-F238E27FC236}">
                <a16:creationId xmlns:a16="http://schemas.microsoft.com/office/drawing/2014/main" id="{2C368ACA-E6D3-0F91-5E63-F7FC520FA5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63" t="10291" r="16303" b="16888"/>
          <a:stretch/>
        </p:blipFill>
        <p:spPr>
          <a:xfrm>
            <a:off x="10415751" y="226180"/>
            <a:ext cx="1466702" cy="1588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8068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62372F6-38F2-CFEF-5419-74D630F6C1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60856C8-5ECA-52FD-0CCC-E6FCEB8FC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248" y="283592"/>
            <a:ext cx="11750362" cy="662782"/>
          </a:xfrm>
        </p:spPr>
        <p:txBody>
          <a:bodyPr/>
          <a:lstStyle/>
          <a:p>
            <a:r>
              <a:rPr lang="en-GB" sz="3600" dirty="0">
                <a:solidFill>
                  <a:srgbClr val="0070C0"/>
                </a:solidFill>
              </a:rPr>
              <a:t>SEL Neighbourhood developments and contex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CF7E33-FCEA-F3D2-17F2-926365DC49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710AE3E-5F9F-1A80-7A89-135E44E08965}"/>
              </a:ext>
            </a:extLst>
          </p:cNvPr>
          <p:cNvSpPr txBox="1"/>
          <p:nvPr/>
        </p:nvSpPr>
        <p:spPr>
          <a:xfrm>
            <a:off x="178673" y="1237183"/>
            <a:ext cx="5076499" cy="5632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GB" sz="20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 </a:t>
            </a:r>
            <a:r>
              <a:rPr lang="en-GB" sz="20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Neighbourhood Health Service for London </a:t>
            </a:r>
            <a:r>
              <a:rPr lang="en-GB" sz="20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has been published, with London Target Operating Model – with strong SEL input. </a:t>
            </a:r>
          </a:p>
          <a:p>
            <a:pPr lvl="0" algn="ctr"/>
            <a:endParaRPr lang="en-GB" sz="2000" kern="100" dirty="0"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lvl="0" algn="ctr"/>
            <a:r>
              <a:rPr lang="en-GB" sz="20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Three priorities have emerged across SEL boroughs: </a:t>
            </a:r>
          </a:p>
          <a:p>
            <a:pPr marL="342900" lvl="0" indent="-342900" algn="ctr">
              <a:buFont typeface="Arial" panose="020B0604020202020204" pitchFamily="34" charset="0"/>
              <a:buChar char="•"/>
            </a:pPr>
            <a:r>
              <a:rPr lang="en-GB" sz="20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Frailty</a:t>
            </a:r>
            <a:endParaRPr lang="en-GB" sz="2000" b="1" kern="100" dirty="0"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342900" lvl="0" indent="-342900" algn="ctr">
              <a:buFont typeface="Arial" panose="020B0604020202020204" pitchFamily="34" charset="0"/>
              <a:buChar char="•"/>
            </a:pPr>
            <a:r>
              <a:rPr lang="en-GB" sz="20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omplex LTCs</a:t>
            </a:r>
          </a:p>
          <a:p>
            <a:pPr marL="342900" lvl="0" indent="-342900" algn="ctr">
              <a:buFont typeface="Arial" panose="020B0604020202020204" pitchFamily="34" charset="0"/>
              <a:buChar char="•"/>
            </a:pPr>
            <a:r>
              <a:rPr lang="en-GB" sz="20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hildren and Young People</a:t>
            </a:r>
          </a:p>
          <a:p>
            <a:pPr lvl="0" algn="ctr"/>
            <a:endParaRPr lang="en-GB" sz="2000" b="1" kern="100" dirty="0"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lvl="0" algn="ctr"/>
            <a:r>
              <a:rPr lang="en-GB" sz="20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Some boroughs including Greenwich are also looking at </a:t>
            </a:r>
            <a:r>
              <a:rPr lang="en-GB" sz="20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Urgent Same Day Care </a:t>
            </a:r>
            <a:r>
              <a:rPr lang="en-GB" sz="20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s a priority. </a:t>
            </a:r>
          </a:p>
          <a:p>
            <a:pPr marL="342900" lvl="0" indent="-342900" algn="ctr">
              <a:buFont typeface="Symbol" panose="05050102010706020507" pitchFamily="18" charset="2"/>
              <a:buChar char=""/>
            </a:pPr>
            <a:endParaRPr lang="en-GB" sz="20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lvl="0" algn="ctr"/>
            <a:r>
              <a:rPr lang="en-GB" sz="2000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evelopment workshops held earlier this year to agree a </a:t>
            </a:r>
            <a:r>
              <a:rPr lang="en-GB" sz="2000" b="1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SEL </a:t>
            </a:r>
            <a:r>
              <a:rPr lang="en-GB" sz="20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ging Well Framework </a:t>
            </a:r>
            <a:r>
              <a:rPr lang="en-GB" sz="20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– with strong Greenwich input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337205B-510D-CF9B-0C78-E1212A67041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1121" t="4136" r="11208" b="4136"/>
          <a:stretch/>
        </p:blipFill>
        <p:spPr>
          <a:xfrm>
            <a:off x="5358906" y="1531470"/>
            <a:ext cx="6833094" cy="4539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4312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97224E-67A9-12A2-9364-0F55E98DE2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0DE07F1-580F-1AD9-0E84-48184739B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248" y="283592"/>
            <a:ext cx="11750362" cy="662782"/>
          </a:xfrm>
        </p:spPr>
        <p:txBody>
          <a:bodyPr/>
          <a:lstStyle/>
          <a:p>
            <a:r>
              <a:rPr lang="en-GB" sz="3600" dirty="0">
                <a:solidFill>
                  <a:srgbClr val="0070C0"/>
                </a:solidFill>
              </a:rPr>
              <a:t>SEL Neighbourhood developments and contex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EBB7F61-45B0-2FB4-4F75-792784C9F2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3C7D471-8D06-8776-5DDA-761B5C7E76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737"/>
            <a:ext cx="12192000" cy="6859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2736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439AC8A-C0A1-F6FA-C0D8-7414EA2733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AC7B5B4-017B-8563-3403-2FCAA035A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248" y="283592"/>
            <a:ext cx="6810704" cy="662782"/>
          </a:xfrm>
        </p:spPr>
        <p:txBody>
          <a:bodyPr/>
          <a:lstStyle/>
          <a:p>
            <a:r>
              <a:rPr lang="en-GB" sz="3600" dirty="0">
                <a:solidFill>
                  <a:srgbClr val="0070C0"/>
                </a:solidFill>
              </a:rPr>
              <a:t>Greenwich Neighbourhood development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BB89DB0-BFED-39AC-93C2-593D32D83BE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1A0A3B0-1E69-C9C7-1984-EAFF79789AF3}"/>
              </a:ext>
            </a:extLst>
          </p:cNvPr>
          <p:cNvSpPr txBox="1"/>
          <p:nvPr/>
        </p:nvSpPr>
        <p:spPr>
          <a:xfrm>
            <a:off x="220819" y="1243431"/>
            <a:ext cx="11750362" cy="5632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GB" sz="20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In Greenwich, three interdependent workstreams have </a:t>
            </a:r>
          </a:p>
          <a:p>
            <a:pPr lvl="0"/>
            <a:r>
              <a:rPr lang="en-GB" sz="20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been set up to move this forward, all of which will be </a:t>
            </a:r>
          </a:p>
          <a:p>
            <a:pPr lvl="0"/>
            <a:r>
              <a:rPr lang="en-GB" sz="20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touched upon today, plus key enabler streams </a:t>
            </a:r>
            <a:r>
              <a:rPr lang="en-GB" sz="20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endParaRPr lang="en-GB" sz="2000" kern="100" dirty="0"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en-GB" sz="20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lvl="0"/>
            <a:endParaRPr lang="en-GB" sz="20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n-GB" sz="20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rogress to date: </a:t>
            </a:r>
          </a:p>
          <a:p>
            <a:pPr marL="357188" indent="-342900">
              <a:buFont typeface="Wingdings" panose="05000000000000000000" pitchFamily="2" charset="2"/>
              <a:buChar char="ü"/>
            </a:pPr>
            <a:r>
              <a:rPr lang="en-GB" sz="2000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ositioning ourselves strongly within SEL</a:t>
            </a:r>
          </a:p>
          <a:p>
            <a:pPr marL="357188" lvl="0" indent="-342900">
              <a:buFont typeface="Wingdings" panose="05000000000000000000" pitchFamily="2" charset="2"/>
              <a:buChar char="ü"/>
            </a:pPr>
            <a:r>
              <a:rPr lang="en-GB" sz="2000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M</a:t>
            </a:r>
            <a:r>
              <a:rPr lang="en-GB" sz="20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ny conversations with individuals and smaller groups within primary care and system partners, and growing enthusiasm for the need and opportunity</a:t>
            </a:r>
          </a:p>
          <a:p>
            <a:pPr marL="357188" indent="-342900">
              <a:buFont typeface="Wingdings" panose="05000000000000000000" pitchFamily="2" charset="2"/>
              <a:buChar char="ü"/>
            </a:pPr>
            <a:r>
              <a:rPr lang="en-GB" sz="2000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Support from Greenwich LMC to include Proactive Care in the PMS Premium</a:t>
            </a:r>
          </a:p>
          <a:p>
            <a:pPr marL="357188" lvl="0" indent="-342900">
              <a:buFont typeface="Wingdings" panose="05000000000000000000" pitchFamily="2" charset="2"/>
              <a:buChar char="ü"/>
            </a:pPr>
            <a:r>
              <a:rPr lang="en-GB" sz="2000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Working groups now set up for the Population Health and Workforce workstreams</a:t>
            </a:r>
          </a:p>
          <a:p>
            <a:pPr marL="357188" lvl="0" indent="-342900">
              <a:buFont typeface="Wingdings" panose="05000000000000000000" pitchFamily="2" charset="2"/>
              <a:buChar char="ü"/>
            </a:pPr>
            <a:r>
              <a:rPr lang="en-GB" sz="2000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onnecting Greenwich and Public Health-led work in Horn Park, Thamesmead, Plumstead &amp; Glyndon and Blackheath &amp; Charlton</a:t>
            </a:r>
          </a:p>
          <a:p>
            <a:pPr marL="357188" lvl="0" indent="-342900">
              <a:buFont typeface="Wingdings" panose="05000000000000000000" pitchFamily="2" charset="2"/>
              <a:buChar char="ü"/>
            </a:pPr>
            <a:r>
              <a:rPr lang="en-GB" sz="2000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Learning from targeted frailty work by </a:t>
            </a:r>
            <a:r>
              <a:rPr lang="en-GB" sz="2000" kern="100" dirty="0" err="1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Oxleas</a:t>
            </a:r>
            <a:r>
              <a:rPr lang="en-GB" sz="20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/Blackheath Standard, and LTCs focused of Heritage PCN’s Multi-morbidity Models of Care pilot for CKD</a:t>
            </a:r>
          </a:p>
          <a:p>
            <a:pPr marL="357188" indent="-342900">
              <a:buFont typeface="Wingdings" panose="05000000000000000000" pitchFamily="2" charset="2"/>
              <a:buChar char="ü"/>
            </a:pPr>
            <a:r>
              <a:rPr lang="en-GB" sz="2000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Opportunity to build on the existing frailty pathway </a:t>
            </a:r>
          </a:p>
          <a:p>
            <a:pPr marL="357188" lvl="0" indent="-342900">
              <a:buFont typeface="Wingdings" panose="05000000000000000000" pitchFamily="2" charset="2"/>
              <a:buChar char="ü"/>
            </a:pPr>
            <a:r>
              <a:rPr lang="en-GB" sz="2000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N</a:t>
            </a:r>
            <a:r>
              <a:rPr lang="en-GB" sz="20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eighbourhood geographies now agreed – bringing Neighbourhoods to life in real places</a:t>
            </a:r>
          </a:p>
          <a:p>
            <a:pPr marL="357188" lvl="0" indent="-342900">
              <a:buFont typeface="Wingdings" panose="05000000000000000000" pitchFamily="2" charset="2"/>
              <a:buChar char="ü"/>
            </a:pPr>
            <a:r>
              <a:rPr lang="en-GB" sz="2000" kern="100" dirty="0"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Neighbourhood Hubs scoping and strategic next steps for estates</a:t>
            </a:r>
            <a:endParaRPr lang="en-GB" sz="20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AB37195-A86F-E344-985A-58B40DB861BE}"/>
              </a:ext>
            </a:extLst>
          </p:cNvPr>
          <p:cNvSpPr/>
          <p:nvPr/>
        </p:nvSpPr>
        <p:spPr>
          <a:xfrm>
            <a:off x="7245752" y="872441"/>
            <a:ext cx="1330960" cy="970280"/>
          </a:xfrm>
          <a:prstGeom prst="rect">
            <a:avLst/>
          </a:prstGeom>
          <a:solidFill>
            <a:srgbClr val="156082"/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are model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sig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i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ssica Arnold</a:t>
            </a:r>
            <a:endParaRPr kumimoji="0" lang="en-GB" sz="1400" b="1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281990-DAC9-07FC-819C-159259265FDF}"/>
              </a:ext>
            </a:extLst>
          </p:cNvPr>
          <p:cNvSpPr/>
          <p:nvPr/>
        </p:nvSpPr>
        <p:spPr>
          <a:xfrm>
            <a:off x="8673232" y="872441"/>
            <a:ext cx="1330960" cy="970280"/>
          </a:xfrm>
          <a:prstGeom prst="rect">
            <a:avLst/>
          </a:prstGeom>
          <a:solidFill>
            <a:srgbClr val="156082"/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orkforc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i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a Wilson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7E02997-66AD-CE40-3720-C39AC5DB2E8B}"/>
              </a:ext>
            </a:extLst>
          </p:cNvPr>
          <p:cNvSpPr/>
          <p:nvPr/>
        </p:nvSpPr>
        <p:spPr>
          <a:xfrm>
            <a:off x="10151512" y="872441"/>
            <a:ext cx="1330960" cy="970280"/>
          </a:xfrm>
          <a:prstGeom prst="rect">
            <a:avLst/>
          </a:prstGeom>
          <a:solidFill>
            <a:srgbClr val="156082"/>
          </a:solidFill>
          <a:ln w="19050" cap="flat" cmpd="sng" algn="ctr">
            <a:solidFill>
              <a:srgbClr val="156082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pulation health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i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 Bennett</a:t>
            </a:r>
            <a:endParaRPr kumimoji="0" lang="en-GB" sz="1400" b="1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53FDC1C-CD83-6D43-6AAE-CAF052C6A37F}"/>
              </a:ext>
            </a:extLst>
          </p:cNvPr>
          <p:cNvSpPr/>
          <p:nvPr/>
        </p:nvSpPr>
        <p:spPr>
          <a:xfrm>
            <a:off x="7271152" y="2086562"/>
            <a:ext cx="1305560" cy="1114399"/>
          </a:xfrm>
          <a:prstGeom prst="rect">
            <a:avLst/>
          </a:prstGeom>
          <a:solidFill>
            <a:srgbClr val="A02B93"/>
          </a:solidFill>
          <a:ln w="19050" cap="flat" cmpd="sng" algn="ctr">
            <a:solidFill>
              <a:srgbClr val="A02B93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state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i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ssica Arnold</a:t>
            </a:r>
            <a:endParaRPr kumimoji="0" lang="en-GB" sz="1400" b="1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812E8FD-7096-2FE0-76C9-ABC070C4CE34}"/>
              </a:ext>
            </a:extLst>
          </p:cNvPr>
          <p:cNvSpPr/>
          <p:nvPr/>
        </p:nvSpPr>
        <p:spPr>
          <a:xfrm>
            <a:off x="8683392" y="2064547"/>
            <a:ext cx="1330960" cy="1136414"/>
          </a:xfrm>
          <a:prstGeom prst="rect">
            <a:avLst/>
          </a:prstGeom>
          <a:solidFill>
            <a:srgbClr val="A02B93"/>
          </a:solidFill>
          <a:ln w="19050" cap="flat" cmpd="sng" algn="ctr">
            <a:solidFill>
              <a:srgbClr val="A02B93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igital enablement of workforc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i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a Wilson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C43D6F7-3D66-8321-0A4E-21A689FF7ECF}"/>
              </a:ext>
            </a:extLst>
          </p:cNvPr>
          <p:cNvSpPr/>
          <p:nvPr/>
        </p:nvSpPr>
        <p:spPr>
          <a:xfrm>
            <a:off x="7245752" y="309387"/>
            <a:ext cx="4236720" cy="461665"/>
          </a:xfrm>
          <a:prstGeom prst="rect">
            <a:avLst/>
          </a:prstGeom>
          <a:solidFill>
            <a:srgbClr val="4EA72E"/>
          </a:solidFill>
          <a:ln w="19050" cap="flat" cmpd="sng" algn="ctr">
            <a:solidFill>
              <a:srgbClr val="4EA72E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gagement and co-production – HGP wid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F5EF6E3A-868D-53B2-321B-692FA1593B0B}"/>
              </a:ext>
            </a:extLst>
          </p:cNvPr>
          <p:cNvCxnSpPr>
            <a:stCxn id="20" idx="2"/>
            <a:endCxn id="24" idx="0"/>
          </p:cNvCxnSpPr>
          <p:nvPr/>
        </p:nvCxnSpPr>
        <p:spPr>
          <a:xfrm>
            <a:off x="7911232" y="1842721"/>
            <a:ext cx="12700" cy="243841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5F2D07E6-9259-6605-50EB-4206AC44B496}"/>
              </a:ext>
            </a:extLst>
          </p:cNvPr>
          <p:cNvSpPr/>
          <p:nvPr/>
        </p:nvSpPr>
        <p:spPr>
          <a:xfrm>
            <a:off x="10129487" y="2064547"/>
            <a:ext cx="1330960" cy="1136414"/>
          </a:xfrm>
          <a:prstGeom prst="rect">
            <a:avLst/>
          </a:prstGeom>
          <a:solidFill>
            <a:srgbClr val="A02B93"/>
          </a:solidFill>
          <a:ln w="19050" cap="flat" cmpd="sng" algn="ctr">
            <a:solidFill>
              <a:srgbClr val="A02B93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mmunication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i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ssell Cartwright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E764F225-C56B-FF84-5305-8BE7F3898B97}"/>
              </a:ext>
            </a:extLst>
          </p:cNvPr>
          <p:cNvCxnSpPr/>
          <p:nvPr/>
        </p:nvCxnSpPr>
        <p:spPr>
          <a:xfrm>
            <a:off x="9364112" y="1831714"/>
            <a:ext cx="12700" cy="243841"/>
          </a:xfrm>
          <a:prstGeom prst="straightConnector1">
            <a:avLst/>
          </a:prstGeom>
          <a:noFill/>
          <a:ln w="19050" cap="flat" cmpd="sng" algn="ctr">
            <a:solidFill>
              <a:srgbClr val="156082"/>
            </a:solidFill>
            <a:prstDash val="solid"/>
            <a:miter lim="800000"/>
            <a:headEnd type="triangle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1038432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9D4C2-4DDD-EEA6-4DC2-5D314FE975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D733BB-F7F0-AAA7-3BCF-25C46D6E93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78D005-A21F-A109-6D27-92BCE3416B2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C4B111C-0041-EF15-0785-2DA3884230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84" y="-298"/>
            <a:ext cx="12155841" cy="6837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3158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5573DD-5551-E33D-7E23-9D3796A398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Vertical Road Stock Vector Illustration and Royalty Free Vertical Road  Clipart">
            <a:extLst>
              <a:ext uri="{FF2B5EF4-FFF2-40B4-BE49-F238E27FC236}">
                <a16:creationId xmlns:a16="http://schemas.microsoft.com/office/drawing/2014/main" id="{AB1A033B-6AF6-9F03-D307-644208CDF0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987" y="3175"/>
            <a:ext cx="3564509" cy="685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A75E6F0-478E-0EA6-D9CB-4DFF9EB64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496" y="100124"/>
            <a:ext cx="7730863" cy="662782"/>
          </a:xfrm>
        </p:spPr>
        <p:txBody>
          <a:bodyPr/>
          <a:lstStyle/>
          <a:p>
            <a:r>
              <a:rPr lang="en-GB" sz="3600" dirty="0">
                <a:solidFill>
                  <a:srgbClr val="0070C0"/>
                </a:solidFill>
                <a:latin typeface="+mn-lt"/>
              </a:rPr>
              <a:t>So, what next for Greenwich?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AC0FE57-A046-5FE4-FEEA-FD99E7E3CA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4987" y="1608085"/>
            <a:ext cx="4131633" cy="4652824"/>
          </a:xfrm>
        </p:spPr>
        <p:txBody>
          <a:bodyPr/>
          <a:lstStyle/>
          <a:p>
            <a:pPr>
              <a:buNone/>
            </a:pPr>
            <a:r>
              <a:rPr lang="en-GB" sz="2000" kern="100" dirty="0">
                <a:solidFill>
                  <a:srgbClr val="FF0000"/>
                </a:solidFill>
                <a:effectLst/>
                <a:latin typeface="+mn-lt"/>
                <a:ea typeface="Aptos" panose="020B0004020202020204" pitchFamily="34" charset="0"/>
              </a:rPr>
              <a:t>  </a:t>
            </a:r>
            <a:endParaRPr lang="en-GB" sz="2000" kern="100" dirty="0">
              <a:effectLst/>
              <a:latin typeface="+mn-lt"/>
              <a:ea typeface="Aptos" panose="020B0004020202020204" pitchFamily="34" charset="0"/>
            </a:endParaRPr>
          </a:p>
          <a:p>
            <a:pPr marL="0" indent="0">
              <a:buNone/>
            </a:pPr>
            <a:endParaRPr lang="en-GB" sz="2000" dirty="0">
              <a:latin typeface="+mn-lt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65BBBC-46F0-195F-A00F-EB0F2B10317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398668"/>
            <a:ext cx="1695450" cy="365125"/>
          </a:xfrm>
        </p:spPr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7AF5EFF-7BB5-3C24-CABB-96B2439944E5}"/>
              </a:ext>
            </a:extLst>
          </p:cNvPr>
          <p:cNvSpPr txBox="1"/>
          <p:nvPr/>
        </p:nvSpPr>
        <p:spPr>
          <a:xfrm>
            <a:off x="3859459" y="1611984"/>
            <a:ext cx="8332541" cy="48628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GB" sz="2000" kern="100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Identify funding – no additional recurrent funding!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GB" sz="2000" kern="100" dirty="0"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Model numbers – balancing target cohort size and system capacity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GB" sz="2000" kern="100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Consider roll-out approach, e.g. starting small or by geography or by cohort 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GB" sz="2000" kern="100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Secure commitment from all system partners</a:t>
            </a:r>
            <a:endParaRPr lang="en-GB" sz="2000" b="1" kern="100" dirty="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GB" sz="2000" kern="100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Engage and empower clinical and operational staff at all levels, including:</a:t>
            </a:r>
          </a:p>
          <a:p>
            <a:pPr marL="809625" lvl="0" indent="-342900">
              <a:buFont typeface="Courier New" panose="02070309020205020404" pitchFamily="49" charset="0"/>
              <a:buChar char="o"/>
            </a:pPr>
            <a:r>
              <a:rPr lang="en-GB" sz="2000" kern="100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Community services teams</a:t>
            </a:r>
          </a:p>
          <a:p>
            <a:pPr marL="809625" lvl="0" indent="-342900">
              <a:buFont typeface="Courier New" panose="02070309020205020404" pitchFamily="49" charset="0"/>
              <a:buChar char="o"/>
            </a:pPr>
            <a:r>
              <a:rPr lang="en-GB" sz="2000" kern="100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Consultants and hospital staff</a:t>
            </a:r>
          </a:p>
          <a:p>
            <a:pPr marL="809625" lvl="0" indent="-342900">
              <a:buFont typeface="Courier New" panose="02070309020205020404" pitchFamily="49" charset="0"/>
              <a:buChar char="o"/>
            </a:pPr>
            <a:r>
              <a:rPr lang="en-GB" sz="2000" kern="100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GP practice staff – and wider primary care</a:t>
            </a:r>
          </a:p>
          <a:p>
            <a:pPr marL="809625" lvl="0" indent="-342900">
              <a:buFont typeface="Courier New" panose="02070309020205020404" pitchFamily="49" charset="0"/>
              <a:buChar char="o"/>
            </a:pPr>
            <a:r>
              <a:rPr lang="en-GB" sz="2000" kern="100" dirty="0"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Voluntary sector organisations</a:t>
            </a:r>
          </a:p>
          <a:p>
            <a:pPr marL="809625" lvl="0" indent="-342900">
              <a:buFont typeface="Courier New" panose="02070309020205020404" pitchFamily="49" charset="0"/>
              <a:buChar char="o"/>
            </a:pPr>
            <a:r>
              <a:rPr lang="en-GB" sz="2000" kern="100" dirty="0"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Social care and Home Care organisations</a:t>
            </a:r>
          </a:p>
          <a:p>
            <a:pPr marL="809625" lvl="0" indent="-342900">
              <a:buFont typeface="Courier New" panose="02070309020205020404" pitchFamily="49" charset="0"/>
              <a:buChar char="o"/>
            </a:pPr>
            <a:r>
              <a:rPr lang="en-GB" sz="2000" kern="100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Care homes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GB" sz="2000" kern="100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Approaching public, patient and carer engagement in a meaningful way… and co-designing their future role directly in patient care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en-GB" sz="1000" b="1" kern="100" dirty="0">
              <a:solidFill>
                <a:srgbClr val="0070C0"/>
              </a:solidFill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" name="Picture 7" descr="A logo with a tree&#10;&#10;AI-generated content may be incorrect.">
            <a:extLst>
              <a:ext uri="{FF2B5EF4-FFF2-40B4-BE49-F238E27FC236}">
                <a16:creationId xmlns:a16="http://schemas.microsoft.com/office/drawing/2014/main" id="{B9BF26FC-B76A-549E-D9EA-2196F0411C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63" t="10291" r="16303" b="16888"/>
          <a:stretch/>
        </p:blipFill>
        <p:spPr>
          <a:xfrm>
            <a:off x="195024" y="762906"/>
            <a:ext cx="1466702" cy="1588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1309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E61908-6C90-7BA8-208A-4FADE85C7B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04C3841-4FB3-2A79-EA5E-A5487C8F4C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95153" y="1657988"/>
            <a:ext cx="6625593" cy="1364715"/>
          </a:xfrm>
        </p:spPr>
        <p:txBody>
          <a:bodyPr/>
          <a:lstStyle/>
          <a:p>
            <a:pPr algn="ctr"/>
            <a:r>
              <a:rPr lang="en-GB" dirty="0"/>
              <a:t>Thank you!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41586F4-F92F-1EB1-3C6B-777A7ED326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8917" y="3107387"/>
            <a:ext cx="5080849" cy="3051675"/>
          </a:xfrm>
        </p:spPr>
        <p:txBody>
          <a:bodyPr>
            <a:normAutofit/>
          </a:bodyPr>
          <a:lstStyle/>
          <a:p>
            <a:pPr algn="ctr"/>
            <a:r>
              <a:rPr lang="en-GB" dirty="0"/>
              <a:t>Jessica Arnold, Director of Primary Care and Neighbourhoods</a:t>
            </a:r>
          </a:p>
          <a:p>
            <a:pPr algn="ctr"/>
            <a:r>
              <a:rPr lang="en-GB" i="1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essica.Arnold@selondonics.nhs.uk</a:t>
            </a:r>
            <a:r>
              <a:rPr lang="en-GB" i="1" dirty="0"/>
              <a:t> </a:t>
            </a:r>
          </a:p>
          <a:p>
            <a:pPr algn="ctr"/>
            <a:endParaRPr lang="en-GB" i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6C93C05-8ABF-A4C4-3BD4-01486C2508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02302" y="850504"/>
            <a:ext cx="6611527" cy="5156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5514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outh East London ICS">
  <a:themeElements>
    <a:clrScheme name="NHS SEL ICS">
      <a:dk1>
        <a:srgbClr val="001D2E"/>
      </a:dk1>
      <a:lt1>
        <a:srgbClr val="FFFFFF"/>
      </a:lt1>
      <a:dk2>
        <a:srgbClr val="003893"/>
      </a:dk2>
      <a:lt2>
        <a:srgbClr val="D2D2D2"/>
      </a:lt2>
      <a:accent1>
        <a:srgbClr val="003893"/>
      </a:accent1>
      <a:accent2>
        <a:srgbClr val="0091C9"/>
      </a:accent2>
      <a:accent3>
        <a:srgbClr val="00ADC6"/>
      </a:accent3>
      <a:accent4>
        <a:srgbClr val="80D3EA"/>
      </a:accent4>
      <a:accent5>
        <a:srgbClr val="FDED00"/>
      </a:accent5>
      <a:accent6>
        <a:srgbClr val="F0EDED"/>
      </a:accent6>
      <a:hlink>
        <a:srgbClr val="005EB8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dirty="0">
            <a:solidFill>
              <a:srgbClr val="023D5B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EL ICS_PPT Template_2024_ICS" id="{5814C48A-52B2-1849-BE02-9B7FEA410F71}" vid="{39F0B3BD-04FC-6C47-A87D-8595F80EDF7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26bacde-6331-4e74-8974-e6324a2ac26f">
      <Terms xmlns="http://schemas.microsoft.com/office/infopath/2007/PartnerControls"/>
    </lcf76f155ced4ddcb4097134ff3c332f>
    <TaxCatchAll xmlns="8e15c50b-ac9b-482f-9885-e44c786c744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46949BEA682A4786C2065136983B9B" ma:contentTypeVersion="18" ma:contentTypeDescription="Create a new document." ma:contentTypeScope="" ma:versionID="efedc014b9aa8b5562340cdddf7d9084">
  <xsd:schema xmlns:xsd="http://www.w3.org/2001/XMLSchema" xmlns:xs="http://www.w3.org/2001/XMLSchema" xmlns:p="http://schemas.microsoft.com/office/2006/metadata/properties" xmlns:ns2="d26bacde-6331-4e74-8974-e6324a2ac26f" xmlns:ns3="8e15c50b-ac9b-482f-9885-e44c786c7441" targetNamespace="http://schemas.microsoft.com/office/2006/metadata/properties" ma:root="true" ma:fieldsID="7a7217602ba9a515cb839bb6ded97afc" ns2:_="" ns3:_="">
    <xsd:import namespace="d26bacde-6331-4e74-8974-e6324a2ac26f"/>
    <xsd:import namespace="8e15c50b-ac9b-482f-9885-e44c786c744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6bacde-6331-4e74-8974-e6324a2ac26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c65629fe-fa3b-4d8f-b0ac-4a13011ce30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15c50b-ac9b-482f-9885-e44c786c744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72130d72-f301-4aee-9a0a-c178907e85b3}" ma:internalName="TaxCatchAll" ma:showField="CatchAllData" ma:web="8e15c50b-ac9b-482f-9885-e44c786c744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A9066BB-6E68-4A9D-9848-A5363CFD3E4F}">
  <ds:schemaRefs>
    <ds:schemaRef ds:uri="http://schemas.microsoft.com/office/2006/metadata/properties"/>
    <ds:schemaRef ds:uri="http://schemas.microsoft.com/office/infopath/2007/PartnerControls"/>
    <ds:schemaRef ds:uri="9665b79a-0338-48fd-a2d6-3951c001299f"/>
    <ds:schemaRef ds:uri="ca38f9bd-10fb-4469-b523-de08287e2ac0"/>
    <ds:schemaRef ds:uri="d26bacde-6331-4e74-8974-e6324a2ac26f"/>
    <ds:schemaRef ds:uri="8e15c50b-ac9b-482f-9885-e44c786c7441"/>
  </ds:schemaRefs>
</ds:datastoreItem>
</file>

<file path=customXml/itemProps2.xml><?xml version="1.0" encoding="utf-8"?>
<ds:datastoreItem xmlns:ds="http://schemas.openxmlformats.org/officeDocument/2006/customXml" ds:itemID="{29FC77E1-6831-4625-AFD9-E6E2EED4630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26bacde-6331-4e74-8974-e6324a2ac26f"/>
    <ds:schemaRef ds:uri="8e15c50b-ac9b-482f-9885-e44c786c74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109BEA6-CA7B-4FBD-8BBB-290507871B3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 template - ICS only</Template>
  <TotalTime>6401</TotalTime>
  <Words>435</Words>
  <Application>Microsoft Office PowerPoint</Application>
  <PresentationFormat>Widescreen</PresentationFormat>
  <Paragraphs>68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Wingdings</vt:lpstr>
      <vt:lpstr>Symbol</vt:lpstr>
      <vt:lpstr>Calibri Light</vt:lpstr>
      <vt:lpstr>Arial</vt:lpstr>
      <vt:lpstr>Calibri</vt:lpstr>
      <vt:lpstr>Aptos</vt:lpstr>
      <vt:lpstr>Courier New</vt:lpstr>
      <vt:lpstr>South East London ICS</vt:lpstr>
      <vt:lpstr>think-cell Slide</vt:lpstr>
      <vt:lpstr>An Integrated Neighbourhood Health Service for Greenwich: Progress to date and big questions to consider</vt:lpstr>
      <vt:lpstr>SEL Neighbourhood developments and context</vt:lpstr>
      <vt:lpstr>SEL Neighbourhood developments and context</vt:lpstr>
      <vt:lpstr>Greenwich Neighbourhood developments </vt:lpstr>
      <vt:lpstr>PowerPoint Presentation</vt:lpstr>
      <vt:lpstr>So, what next for Greenwich?</vt:lpstr>
      <vt:lpstr>Thank you!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Jessica Arnold (NHS South East London ICB)</dc:creator>
  <cp:keywords/>
  <dc:description/>
  <cp:lastModifiedBy>Jessica Arnold (NHS South East London ICB)</cp:lastModifiedBy>
  <cp:revision>16</cp:revision>
  <dcterms:created xsi:type="dcterms:W3CDTF">2025-01-24T16:38:58Z</dcterms:created>
  <dcterms:modified xsi:type="dcterms:W3CDTF">2025-07-08T10:52:5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DE46949BEA682A4786C2065136983B9B</vt:lpwstr>
  </property>
</Properties>
</file>